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28"/>
  </p:notesMasterIdLst>
  <p:sldIdLst>
    <p:sldId id="258" r:id="rId3"/>
    <p:sldId id="280" r:id="rId4"/>
    <p:sldId id="305" r:id="rId5"/>
    <p:sldId id="318" r:id="rId6"/>
    <p:sldId id="315" r:id="rId7"/>
    <p:sldId id="311" r:id="rId8"/>
    <p:sldId id="288" r:id="rId9"/>
    <p:sldId id="306" r:id="rId10"/>
    <p:sldId id="290" r:id="rId11"/>
    <p:sldId id="291" r:id="rId12"/>
    <p:sldId id="319" r:id="rId13"/>
    <p:sldId id="307" r:id="rId14"/>
    <p:sldId id="317" r:id="rId15"/>
    <p:sldId id="314" r:id="rId16"/>
    <p:sldId id="297" r:id="rId17"/>
    <p:sldId id="299" r:id="rId18"/>
    <p:sldId id="300" r:id="rId19"/>
    <p:sldId id="320" r:id="rId20"/>
    <p:sldId id="313" r:id="rId21"/>
    <p:sldId id="303" r:id="rId22"/>
    <p:sldId id="304" r:id="rId23"/>
    <p:sldId id="275" r:id="rId24"/>
    <p:sldId id="312" r:id="rId25"/>
    <p:sldId id="294" r:id="rId26"/>
    <p:sldId id="295" r:id="rId27"/>
  </p:sldIdLst>
  <p:sldSz cx="9144000" cy="6858000" type="screen4x3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405" autoAdjust="0"/>
  </p:normalViewPr>
  <p:slideViewPr>
    <p:cSldViewPr snapToGrid="0">
      <p:cViewPr varScale="1">
        <p:scale>
          <a:sx n="88" d="100"/>
          <a:sy n="88" d="100"/>
        </p:scale>
        <p:origin x="150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386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commentAuthors" Target="commentAuthor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7/11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参会的专家老师</a:t>
            </a:r>
            <a:r>
              <a:rPr lang="zh-CN" altLang="en-US" dirty="0" smtClean="0"/>
              <a:t>和同学，大家上午好。很高兴来参加这次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128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477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2870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3.emf"/><Relationship Id="rId4" Type="http://schemas.openxmlformats.org/officeDocument/2006/relationships/image" Target="../media/image42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1.emf"/><Relationship Id="rId4" Type="http://schemas.openxmlformats.org/officeDocument/2006/relationships/image" Target="../media/image5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0" y="4081463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656514" y="2546381"/>
            <a:ext cx="583097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器</a:t>
            </a:r>
            <a:r>
              <a:rPr lang="en-US" altLang="zh-CN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711228" y="5150427"/>
            <a:ext cx="59004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宇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树彬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洪道金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建北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封常青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周</a:t>
            </a:r>
            <a:r>
              <a:rPr lang="zh-CN" altLang="en-US" sz="2000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意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核探测与核电子学国家实验室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USTC)</a:t>
            </a: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7.11.12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2" name="矩形 10"/>
          <p:cNvSpPr>
            <a:spLocks noChangeArrowheads="1"/>
          </p:cNvSpPr>
          <p:nvPr/>
        </p:nvSpPr>
        <p:spPr bwMode="auto">
          <a:xfrm>
            <a:off x="3330169" y="4108422"/>
            <a:ext cx="267733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国科学技术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学 近代物理系  </a:t>
            </a:r>
            <a:endParaRPr lang="zh-CN" altLang="en-US" sz="140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206621" cy="2923262"/>
          </a:xfrm>
        </p:spPr>
        <p:txBody>
          <a:bodyPr/>
          <a:lstStyle/>
          <a:p>
            <a:r>
              <a:rPr lang="zh-CN" altLang="en-US" dirty="0"/>
              <a:t>阳极读出板</a:t>
            </a:r>
            <a:r>
              <a:rPr lang="zh-CN" altLang="en-US" dirty="0" smtClean="0"/>
              <a:t>：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2</a:t>
            </a:r>
            <a:r>
              <a:rPr lang="zh-CN" altLang="en-US" dirty="0" smtClean="0"/>
              <a:t>，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</a:t>
            </a:r>
            <a:r>
              <a:rPr lang="en-US" altLang="zh-CN" dirty="0" smtClean="0"/>
              <a:t>1cm2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：集成多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用菊花链的形式连接。</a:t>
            </a:r>
          </a:p>
          <a:p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zh-CN" altLang="en-US" dirty="0" smtClean="0"/>
              <a:t>：控制、数据采集、刻度。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半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数字化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读出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一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总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0.5m × 1m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研制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与电子学集成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367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阈值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5" name="图片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08" y="121185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859503"/>
              </p:ext>
            </p:extLst>
          </p:nvPr>
        </p:nvGraphicFramePr>
        <p:xfrm>
          <a:off x="1222983" y="4098626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7" name="图片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716" y="1237132"/>
            <a:ext cx="3167818" cy="245775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573327"/>
              </p:ext>
            </p:extLst>
          </p:nvPr>
        </p:nvGraphicFramePr>
        <p:xfrm>
          <a:off x="1222981" y="5564280"/>
          <a:ext cx="6588854" cy="1005249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55296"/>
                <a:gridCol w="1983565"/>
                <a:gridCol w="972220"/>
                <a:gridCol w="1249999"/>
                <a:gridCol w="1527774"/>
              </a:tblGrid>
              <a:tr h="2737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solidFill>
                            <a:schemeClr val="tx1"/>
                          </a:solidFill>
                          <a:effectLst/>
                        </a:rPr>
                        <a:t>Vref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 (V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1817059" y="3704019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.8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817059" y="5188957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9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841715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064328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445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半数字化芯片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247263" y="1265323"/>
            <a:ext cx="437812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半数字读出芯片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刻度系统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半数字化芯片自身比较器刻度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动化完成批量芯片刻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0487" y="1265323"/>
            <a:ext cx="4289077" cy="2232000"/>
          </a:xfrm>
          <a:prstGeom prst="rect">
            <a:avLst/>
          </a:prstGeom>
        </p:spPr>
      </p:pic>
      <p:pic>
        <p:nvPicPr>
          <p:cNvPr id="7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151" y="3500415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下箭头 7"/>
          <p:cNvSpPr/>
          <p:nvPr/>
        </p:nvSpPr>
        <p:spPr>
          <a:xfrm>
            <a:off x="6434312" y="3275790"/>
            <a:ext cx="437626" cy="6318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27" y="3907626"/>
            <a:ext cx="3503884" cy="2374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4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7" name="组合 6"/>
          <p:cNvGrpSpPr>
            <a:grpSpLocks noChangeAspect="1"/>
          </p:cNvGrpSpPr>
          <p:nvPr/>
        </p:nvGrpSpPr>
        <p:grpSpPr>
          <a:xfrm>
            <a:off x="630070" y="1390133"/>
            <a:ext cx="3385073" cy="2880000"/>
            <a:chOff x="2734341" y="2036595"/>
            <a:chExt cx="3610920" cy="3072149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9" r="7098"/>
            <a:stretch>
              <a:fillRect/>
            </a:stretch>
          </p:blipFill>
          <p:spPr>
            <a:xfrm>
              <a:off x="2734341" y="2036595"/>
              <a:ext cx="3610920" cy="3072149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3318991" y="2772450"/>
              <a:ext cx="2069797" cy="8002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pitchFamily="49" charset="-122"/>
                  <a:ea typeface="黑体" panose="02010609060101010101" pitchFamily="49" charset="-122"/>
                </a:rPr>
                <a:t>不接探测器噪声</a:t>
              </a:r>
              <a:r>
                <a:rPr lang="en-US" altLang="zh-CN" sz="1400" dirty="0">
                  <a:latin typeface="黑体" panose="02010609060101010101" pitchFamily="49" charset="-122"/>
                  <a:ea typeface="黑体" panose="02010609060101010101" pitchFamily="49" charset="-122"/>
                </a:rPr>
                <a:t>~0.25fC</a:t>
              </a:r>
            </a:p>
            <a:p>
              <a:r>
                <a:rPr lang="zh-CN" altLang="en-US" sz="14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接上探测器噪声</a:t>
              </a:r>
              <a:r>
                <a:rPr lang="en-US" altLang="zh-CN" sz="14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~0.35fC</a:t>
              </a:r>
              <a:endPara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endParaRPr lang="zh-CN" altLang="en-US" dirty="0"/>
            </a:p>
          </p:txBody>
        </p:sp>
      </p:grpSp>
      <p:sp>
        <p:nvSpPr>
          <p:cNvPr id="13" name="矩形 12"/>
          <p:cNvSpPr/>
          <p:nvPr/>
        </p:nvSpPr>
        <p:spPr>
          <a:xfrm>
            <a:off x="6002478" y="1188433"/>
            <a:ext cx="234418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igh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97"/>
          <a:stretch/>
        </p:blipFill>
        <p:spPr bwMode="auto">
          <a:xfrm>
            <a:off x="5486400" y="1528763"/>
            <a:ext cx="3130415" cy="236131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直接箭头连接符 14"/>
          <p:cNvCxnSpPr/>
          <p:nvPr/>
        </p:nvCxnSpPr>
        <p:spPr bwMode="auto">
          <a:xfrm flipH="1">
            <a:off x="6430425" y="2974645"/>
            <a:ext cx="492367" cy="27554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矩形 15"/>
          <p:cNvSpPr/>
          <p:nvPr/>
        </p:nvSpPr>
        <p:spPr>
          <a:xfrm>
            <a:off x="6808719" y="2630078"/>
            <a:ext cx="10022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01"/>
          <a:stretch/>
        </p:blipFill>
        <p:spPr bwMode="auto">
          <a:xfrm>
            <a:off x="5508530" y="4169569"/>
            <a:ext cx="3086153" cy="23612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" name="直接箭头连接符 16"/>
          <p:cNvCxnSpPr/>
          <p:nvPr/>
        </p:nvCxnSpPr>
        <p:spPr bwMode="auto">
          <a:xfrm>
            <a:off x="7051606" y="5908283"/>
            <a:ext cx="878672" cy="424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矩形 17"/>
          <p:cNvSpPr/>
          <p:nvPr/>
        </p:nvSpPr>
        <p:spPr>
          <a:xfrm>
            <a:off x="6259904" y="5677451"/>
            <a:ext cx="10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075998" y="3852144"/>
            <a:ext cx="22706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Low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764788" y="4236728"/>
            <a:ext cx="15829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噪声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MS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992768" y="4270098"/>
            <a:ext cx="3863643" cy="2146123"/>
          </a:xfrm>
        </p:spPr>
        <p:txBody>
          <a:bodyPr/>
          <a:lstStyle/>
          <a:p>
            <a:r>
              <a:rPr lang="zh-CN" altLang="en-US" dirty="0" smtClean="0"/>
              <a:t>通道间一致性测试</a:t>
            </a:r>
            <a:endParaRPr lang="en-US" altLang="zh-CN" dirty="0"/>
          </a:p>
          <a:p>
            <a:pPr lvl="1"/>
            <a:r>
              <a:rPr lang="zh-CN" altLang="en-US" dirty="0"/>
              <a:t>通道</a:t>
            </a:r>
            <a:r>
              <a:rPr lang="zh-CN" altLang="en-US" dirty="0" smtClean="0"/>
              <a:t>不一致性是影响分辨率的主要因素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小可分辨电荷量</a:t>
            </a:r>
            <a:r>
              <a:rPr lang="en-US" altLang="zh-CN" dirty="0" smtClean="0"/>
              <a:t>2fC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通道间不一致性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" y="3799967"/>
            <a:ext cx="4496516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1042108" y="3624723"/>
            <a:ext cx="2529995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zh-CN" altLang="en-US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信号情况下刻度值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箭头连接符 6"/>
          <p:cNvCxnSpPr/>
          <p:nvPr/>
        </p:nvCxnSpPr>
        <p:spPr bwMode="auto">
          <a:xfrm flipH="1">
            <a:off x="3540596" y="3931259"/>
            <a:ext cx="499731" cy="2171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273B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直接箭头连接符 7"/>
          <p:cNvCxnSpPr/>
          <p:nvPr/>
        </p:nvCxnSpPr>
        <p:spPr bwMode="auto">
          <a:xfrm flipH="1">
            <a:off x="3572814" y="4270099"/>
            <a:ext cx="607123" cy="3682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D9531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矩形 9"/>
          <p:cNvSpPr/>
          <p:nvPr/>
        </p:nvSpPr>
        <p:spPr>
          <a:xfrm>
            <a:off x="4125935" y="4471469"/>
            <a:ext cx="648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EDB12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zh-CN" altLang="en-US" sz="2400" dirty="0">
              <a:solidFill>
                <a:srgbClr val="EDB12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1" name="直接箭头连接符 10"/>
          <p:cNvCxnSpPr/>
          <p:nvPr/>
        </p:nvCxnSpPr>
        <p:spPr bwMode="auto">
          <a:xfrm flipH="1" flipV="1">
            <a:off x="3459919" y="4607413"/>
            <a:ext cx="720018" cy="948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EDB1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矩形 11"/>
          <p:cNvSpPr/>
          <p:nvPr/>
        </p:nvSpPr>
        <p:spPr>
          <a:xfrm>
            <a:off x="4120524" y="3993970"/>
            <a:ext cx="7068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D95319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fC</a:t>
            </a:r>
            <a:endParaRPr lang="zh-CN" altLang="en-US" sz="2400" dirty="0">
              <a:solidFill>
                <a:srgbClr val="D95319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937" y="1173486"/>
            <a:ext cx="3360000" cy="252000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788" y="1085490"/>
            <a:ext cx="3840000" cy="28800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3943365" y="3569134"/>
            <a:ext cx="830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kern="100" dirty="0" smtClean="0">
                <a:solidFill>
                  <a:srgbClr val="0273BE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基线</a:t>
            </a:r>
            <a:endParaRPr lang="zh-CN" altLang="en-US" sz="2400" dirty="0">
              <a:solidFill>
                <a:srgbClr val="0273BE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3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7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93" y="1099577"/>
            <a:ext cx="3723484" cy="2520000"/>
          </a:xfrm>
          <a:prstGeom prst="rect">
            <a:avLst/>
          </a:prstGeom>
        </p:spPr>
      </p:pic>
      <p:sp>
        <p:nvSpPr>
          <p:cNvPr id="28" name="灯片编号占位符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4770737" y="3576451"/>
            <a:ext cx="4142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片外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keV 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能谱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496" y="3853450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5759197" y="4336266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650" y="4116555"/>
            <a:ext cx="3240000" cy="2482229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692984"/>
            <a:ext cx="3240000" cy="2423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</a:t>
            </a:r>
            <a:r>
              <a:rPr lang="zh-CN" altLang="en-US" dirty="0" smtClean="0"/>
              <a:t>均匀性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zh-CN" altLang="en-US" dirty="0"/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421" y="1404818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379950" y="3331569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977" y="113039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049121" y="192509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000497" y="1405778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141524" y="3331569"/>
            <a:ext cx="2682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3" name="灯片编号占位符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362213" y="1130392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增益均匀性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050" y="4728198"/>
            <a:ext cx="4867562" cy="1237734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362212" y="4101048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宇宙线测量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5563259" y="4978748"/>
            <a:ext cx="29805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事例击中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，对相邻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有影响的事例数所占比例为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4%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半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数字化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读出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一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0.5m × 1mGEM</a:t>
            </a:r>
            <a:r>
              <a:rPr lang="zh-CN" altLang="en-US" dirty="0" smtClean="0"/>
              <a:t>探测器研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590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读出</a:t>
            </a:r>
            <a:r>
              <a:rPr lang="zh-CN" altLang="en-US" dirty="0" smtClean="0"/>
              <a:t>电子学动态范围</a:t>
            </a:r>
            <a:r>
              <a:rPr lang="en-US" altLang="zh-CN" dirty="0" smtClean="0"/>
              <a:t>2fC~500fC</a:t>
            </a:r>
            <a:endParaRPr lang="en-US" altLang="zh-CN" dirty="0"/>
          </a:p>
          <a:p>
            <a:r>
              <a:rPr lang="zh-CN" altLang="en-US" dirty="0" smtClean="0"/>
              <a:t>通道间增益不均匀性</a:t>
            </a:r>
            <a:r>
              <a:rPr lang="en-US" altLang="zh-CN" dirty="0" smtClean="0"/>
              <a:t>&lt; 1%</a:t>
            </a:r>
          </a:p>
          <a:p>
            <a:r>
              <a:rPr lang="zh-CN" altLang="en-US" dirty="0"/>
              <a:t>验中所用的</a:t>
            </a:r>
            <a:r>
              <a:rPr lang="en-US" altLang="zh-CN" dirty="0"/>
              <a:t>GEM</a:t>
            </a:r>
            <a:r>
              <a:rPr lang="zh-CN" altLang="en-US" dirty="0"/>
              <a:t>探测器的增益的不均匀约为</a:t>
            </a:r>
            <a:r>
              <a:rPr lang="en-US" altLang="zh-CN" dirty="0" smtClean="0"/>
              <a:t>19%</a:t>
            </a:r>
          </a:p>
          <a:p>
            <a:r>
              <a:rPr lang="zh-CN" altLang="en-US" dirty="0" smtClean="0"/>
              <a:t>击中</a:t>
            </a:r>
            <a:r>
              <a:rPr lang="en-US" altLang="zh-CN" dirty="0"/>
              <a:t>pad</a:t>
            </a:r>
            <a:r>
              <a:rPr lang="zh-CN" altLang="en-US" dirty="0"/>
              <a:t>后，对相邻</a:t>
            </a:r>
            <a:r>
              <a:rPr lang="en-US" altLang="zh-CN" dirty="0"/>
              <a:t>pad</a:t>
            </a:r>
            <a:r>
              <a:rPr lang="zh-CN" altLang="en-US" dirty="0"/>
              <a:t>产生影响的</a:t>
            </a:r>
            <a:r>
              <a:rPr lang="zh-CN" altLang="en-US" dirty="0" smtClean="0"/>
              <a:t>事例</a:t>
            </a:r>
            <a:r>
              <a:rPr lang="zh-CN" altLang="en-US" dirty="0"/>
              <a:t>数所占的比例为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总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777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方案介绍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方案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0.5m × 1mGEM</a:t>
            </a:r>
            <a:r>
              <a:rPr lang="zh-CN" altLang="en-US" dirty="0" smtClean="0"/>
              <a:t>探测器研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50cm*100cm</a:t>
            </a:r>
            <a:r>
              <a:rPr lang="zh-CN" altLang="en-US" dirty="0" smtClean="0"/>
              <a:t>探测器设计</a:t>
            </a:r>
            <a:endParaRPr lang="zh-CN" altLang="en-US" dirty="0"/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233120" y="1396004"/>
            <a:ext cx="44262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单层</a:t>
            </a:r>
            <a:r>
              <a:rPr lang="en-US" altLang="zh-CN" sz="1600" b="1" dirty="0">
                <a:solidFill>
                  <a:srgbClr val="00B050"/>
                </a:solidFill>
                <a:latin typeface="+mn-ea"/>
                <a:ea typeface="+mn-ea"/>
              </a:rPr>
              <a:t>GEM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膜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在张力、重力及电场力下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垂直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形变图</a:t>
            </a:r>
            <a:endParaRPr lang="zh-CN" altLang="en-US" sz="1600" b="1" dirty="0">
              <a:solidFill>
                <a:srgbClr val="00B050"/>
              </a:solidFill>
              <a:latin typeface="+mn-ea"/>
              <a:ea typeface="+mn-ea"/>
            </a:endParaRPr>
          </a:p>
        </p:txBody>
      </p:sp>
      <p:pic>
        <p:nvPicPr>
          <p:cNvPr id="5" name="内容占位符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781653"/>
            <a:ext cx="4038600" cy="191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内容占位符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27" y="1647826"/>
            <a:ext cx="2893933" cy="191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5"/>
          <p:cNvSpPr txBox="1">
            <a:spLocks noChangeArrowheads="1"/>
          </p:cNvSpPr>
          <p:nvPr/>
        </p:nvSpPr>
        <p:spPr bwMode="auto">
          <a:xfrm>
            <a:off x="6934106" y="3462155"/>
            <a:ext cx="121920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dirty="0"/>
              <a:t>tension(N/m)</a:t>
            </a:r>
            <a:endParaRPr lang="zh-CN" altLang="en-US" sz="1400" dirty="0"/>
          </a:p>
        </p:txBody>
      </p:sp>
      <p:sp>
        <p:nvSpPr>
          <p:cNvPr id="8" name="文本框 19"/>
          <p:cNvSpPr txBox="1">
            <a:spLocks noChangeArrowheads="1"/>
          </p:cNvSpPr>
          <p:nvPr/>
        </p:nvSpPr>
        <p:spPr bwMode="auto">
          <a:xfrm rot="-5400000">
            <a:off x="4791309" y="1913732"/>
            <a:ext cx="839787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/>
              <a:t>sag(um)</a:t>
            </a:r>
            <a:endParaRPr lang="zh-CN" altLang="en-US" sz="1400"/>
          </a:p>
        </p:txBody>
      </p:sp>
      <p:sp>
        <p:nvSpPr>
          <p:cNvPr id="9" name="文本框 8"/>
          <p:cNvSpPr txBox="1"/>
          <p:nvPr/>
        </p:nvSpPr>
        <p:spPr>
          <a:xfrm>
            <a:off x="5645314" y="1396004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B050"/>
                </a:solidFill>
              </a:rPr>
              <a:t>最大形变随张力变化</a:t>
            </a:r>
            <a:endParaRPr lang="zh-CN" altLang="en-US" sz="1600" b="1" dirty="0">
              <a:solidFill>
                <a:srgbClr val="00B050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82700" y="3757777"/>
            <a:ext cx="6565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最大垂直形变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100u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相对于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m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间距可接受。</a:t>
            </a:r>
            <a:endParaRPr lang="en-US" altLang="zh-CN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内容占位符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8" y="4175659"/>
            <a:ext cx="347345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内容占位符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386" y="4175659"/>
            <a:ext cx="3213100" cy="210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文本框 6"/>
          <p:cNvSpPr txBox="1">
            <a:spLocks noChangeArrowheads="1"/>
          </p:cNvSpPr>
          <p:nvPr/>
        </p:nvSpPr>
        <p:spPr bwMode="auto">
          <a:xfrm>
            <a:off x="1531938" y="5131334"/>
            <a:ext cx="17367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>
                <a:solidFill>
                  <a:srgbClr val="0000FF"/>
                </a:solidFill>
              </a:rPr>
              <a:t>Tension sensor</a:t>
            </a:r>
            <a:endParaRPr lang="zh-CN" altLang="en-US">
              <a:solidFill>
                <a:srgbClr val="0000FF"/>
              </a:solidFill>
            </a:endParaRPr>
          </a:p>
        </p:txBody>
      </p:sp>
      <p:cxnSp>
        <p:nvCxnSpPr>
          <p:cNvPr id="14" name="直接箭头连接符 13"/>
          <p:cNvCxnSpPr/>
          <p:nvPr/>
        </p:nvCxnSpPr>
        <p:spPr>
          <a:xfrm flipH="1" flipV="1">
            <a:off x="2443163" y="4786847"/>
            <a:ext cx="73025" cy="433387"/>
          </a:xfrm>
          <a:prstGeom prst="straightConnector1">
            <a:avLst/>
          </a:prstGeom>
          <a:ln>
            <a:solidFill>
              <a:srgbClr val="FFFF6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 flipV="1">
            <a:off x="1308100" y="4786847"/>
            <a:ext cx="1047750" cy="441325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981268" y="6341309"/>
            <a:ext cx="4009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，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拉伸量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2.5mm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73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1</a:t>
            </a:fld>
            <a:endParaRPr lang="zh-CN" altLang="en-US"/>
          </a:p>
        </p:txBody>
      </p:sp>
      <p:pic>
        <p:nvPicPr>
          <p:cNvPr id="1632" name="图片 16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022" y="1376734"/>
            <a:ext cx="7989955" cy="2808364"/>
          </a:xfrm>
          <a:prstGeom prst="rect">
            <a:avLst/>
          </a:prstGeom>
        </p:spPr>
      </p:pic>
      <p:sp>
        <p:nvSpPr>
          <p:cNvPr id="1634" name="矩形 1633"/>
          <p:cNvSpPr/>
          <p:nvPr/>
        </p:nvSpPr>
        <p:spPr>
          <a:xfrm>
            <a:off x="3492703" y="4138043"/>
            <a:ext cx="27003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DIF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板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可同时处理多条数据链路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635" name="矩形 1634"/>
          <p:cNvSpPr/>
          <p:nvPr/>
        </p:nvSpPr>
        <p:spPr>
          <a:xfrm>
            <a:off x="247263" y="4185098"/>
            <a:ext cx="31592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电子学</a:t>
            </a:r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ASIC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集成到探测器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背面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盲埋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孔工艺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7171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630185" y="3113070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up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91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芯片自刻度</a:t>
            </a:r>
            <a:endParaRPr lang="en-US" altLang="zh-CN" dirty="0" smtClean="0"/>
          </a:p>
          <a:p>
            <a:pPr lvl="1"/>
            <a:r>
              <a:rPr lang="zh-CN" altLang="en-US" dirty="0"/>
              <a:t>利用芯片比较器测量噪声</a:t>
            </a:r>
            <a:endParaRPr lang="en-US" altLang="zh-CN" dirty="0"/>
          </a:p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用信号发生器通过电容产生电荷</a:t>
            </a:r>
            <a:endParaRPr lang="en-US" altLang="zh-CN" dirty="0"/>
          </a:p>
          <a:p>
            <a:pPr lvl="2"/>
            <a:r>
              <a:rPr lang="zh-CN" altLang="en-US" dirty="0"/>
              <a:t>同时信号发生器产生一个的同频率的时钟信号</a:t>
            </a:r>
            <a:endParaRPr lang="en-US" altLang="zh-CN" dirty="0"/>
          </a:p>
          <a:p>
            <a:pPr lvl="2"/>
            <a:r>
              <a:rPr lang="zh-CN" altLang="en-US" dirty="0"/>
              <a:t>设定一个阈值</a:t>
            </a:r>
            <a:endParaRPr lang="en-US" altLang="zh-CN" dirty="0"/>
          </a:p>
          <a:p>
            <a:pPr lvl="2"/>
            <a:r>
              <a:rPr lang="en-US" altLang="zh-CN" dirty="0"/>
              <a:t>FPGA</a:t>
            </a:r>
            <a:r>
              <a:rPr lang="zh-CN" altLang="en-US" dirty="0"/>
              <a:t>同时计数比较器输出个数和时钟个数</a:t>
            </a:r>
            <a:endParaRPr lang="en-US" altLang="zh-CN" dirty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470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6392" y="1106023"/>
            <a:ext cx="4881961" cy="5172234"/>
          </a:xfrm>
        </p:spPr>
        <p:txBody>
          <a:bodyPr/>
          <a:lstStyle/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不断改变阈值，测量触发率</a:t>
            </a:r>
            <a:endParaRPr lang="en-US" altLang="zh-CN" dirty="0"/>
          </a:p>
          <a:p>
            <a:pPr lvl="2"/>
            <a:r>
              <a:rPr lang="zh-CN" altLang="en-US" dirty="0"/>
              <a:t>得到触发率和阈值关系曲线</a:t>
            </a:r>
            <a:r>
              <a:rPr lang="en-US" altLang="zh-CN" dirty="0"/>
              <a:t>	</a:t>
            </a:r>
          </a:p>
          <a:p>
            <a:pPr lvl="1"/>
            <a:r>
              <a:rPr lang="zh-CN" altLang="en-US" dirty="0"/>
              <a:t>物理含义</a:t>
            </a:r>
            <a:endParaRPr lang="en-US" altLang="zh-CN" dirty="0"/>
          </a:p>
          <a:p>
            <a:pPr lvl="2"/>
            <a:r>
              <a:rPr lang="zh-CN" altLang="en-US" dirty="0"/>
              <a:t>幅度分布概率密度累计曲线</a:t>
            </a:r>
            <a:endParaRPr lang="en-US" altLang="zh-CN" dirty="0"/>
          </a:p>
          <a:p>
            <a:pPr lvl="2"/>
            <a:r>
              <a:rPr lang="zh-CN" altLang="en-US" dirty="0"/>
              <a:t>相邻两个阈值做差得到噪声分布</a:t>
            </a:r>
            <a:endParaRPr lang="en-US" altLang="zh-CN" dirty="0"/>
          </a:p>
          <a:p>
            <a:pPr lvl="2"/>
            <a:r>
              <a:rPr lang="en-US" altLang="zh-CN" dirty="0"/>
              <a:t>S</a:t>
            </a:r>
            <a:r>
              <a:rPr lang="zh-CN" altLang="en-US" dirty="0"/>
              <a:t>曲线</a:t>
            </a:r>
            <a:r>
              <a:rPr lang="en-US" altLang="zh-CN" dirty="0"/>
              <a:t>50%</a:t>
            </a:r>
            <a:r>
              <a:rPr lang="zh-CN" altLang="en-US" dirty="0"/>
              <a:t>处对应的阈值即为该电荷量对应的阈值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20704" y="6492875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25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5081977" y="609999"/>
            <a:ext cx="4040157" cy="3200133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5645072" y="3385314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645072" y="3313876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5645072" y="3242438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645072" y="3171000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645072" y="3104325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187" y="4019043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47" y="4128188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下箭头 12"/>
          <p:cNvSpPr/>
          <p:nvPr/>
        </p:nvSpPr>
        <p:spPr>
          <a:xfrm>
            <a:off x="6213624" y="3666303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 flipH="1">
            <a:off x="4655237" y="5037358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036004" y="36921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 flipH="1" flipV="1">
            <a:off x="8012713" y="3385314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425" y="1943774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47263" y="4637834"/>
            <a:ext cx="8229600" cy="1848459"/>
          </a:xfrm>
        </p:spPr>
        <p:txBody>
          <a:bodyPr/>
          <a:lstStyle/>
          <a:p>
            <a:r>
              <a:rPr lang="zh-CN" altLang="en-US" dirty="0" smtClean="0"/>
              <a:t>为</a:t>
            </a:r>
            <a:r>
              <a:rPr lang="en-US" altLang="zh-CN" dirty="0" smtClean="0"/>
              <a:t>CEPC</a:t>
            </a:r>
            <a:r>
              <a:rPr lang="zh-CN" altLang="en-US" dirty="0" smtClean="0"/>
              <a:t>强子量能器提供一种可行的读出方案</a:t>
            </a:r>
            <a:endParaRPr lang="en-US" altLang="zh-CN" dirty="0" smtClean="0"/>
          </a:p>
          <a:p>
            <a:pPr marL="800100" lvl="1" indent="-342900"/>
            <a:r>
              <a:rPr lang="en-US" altLang="zh-CN" dirty="0" smtClean="0"/>
              <a:t>GEM</a:t>
            </a:r>
            <a:r>
              <a:rPr lang="zh-CN" altLang="en-US" dirty="0" smtClean="0"/>
              <a:t>探测器作为灵敏层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使用</a:t>
            </a:r>
            <a:r>
              <a:rPr lang="en-US" altLang="zh-CN" dirty="0"/>
              <a:t>1bit</a:t>
            </a:r>
            <a:r>
              <a:rPr lang="zh-CN" altLang="en-US" dirty="0"/>
              <a:t>读出即可实现满足需求的</a:t>
            </a:r>
            <a:r>
              <a:rPr lang="zh-CN" altLang="en-US" dirty="0" smtClean="0"/>
              <a:t>能量分辨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高能时能量分辨率，使用多阈读出</a:t>
            </a:r>
            <a:endParaRPr lang="en-US" altLang="zh-CN" dirty="0" smtClean="0"/>
          </a:p>
          <a:p>
            <a:pPr marL="800100" lvl="1" indent="-342900"/>
            <a:endParaRPr lang="en-US" altLang="zh-CN" dirty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11" name="组合 10"/>
          <p:cNvGrpSpPr/>
          <p:nvPr/>
        </p:nvGrpSpPr>
        <p:grpSpPr>
          <a:xfrm>
            <a:off x="78315" y="1104467"/>
            <a:ext cx="5647619" cy="3428571"/>
            <a:chOff x="144232" y="2081529"/>
            <a:chExt cx="5647619" cy="3428571"/>
          </a:xfrm>
        </p:grpSpPr>
        <p:grpSp>
          <p:nvGrpSpPr>
            <p:cNvPr id="7" name="组合 6"/>
            <p:cNvGrpSpPr/>
            <p:nvPr/>
          </p:nvGrpSpPr>
          <p:grpSpPr>
            <a:xfrm>
              <a:off x="144232" y="2081529"/>
              <a:ext cx="5647619" cy="3428571"/>
              <a:chOff x="247263" y="1992766"/>
              <a:chExt cx="5647619" cy="3428571"/>
            </a:xfrm>
          </p:grpSpPr>
          <p:pic>
            <p:nvPicPr>
              <p:cNvPr id="5" name="图片 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7263" y="1992766"/>
                <a:ext cx="5647619" cy="3428571"/>
              </a:xfrm>
              <a:prstGeom prst="rect">
                <a:avLst/>
              </a:prstGeom>
            </p:spPr>
          </p:pic>
          <p:sp>
            <p:nvSpPr>
              <p:cNvPr id="6" name="文本框 5"/>
              <p:cNvSpPr txBox="1"/>
              <p:nvPr/>
            </p:nvSpPr>
            <p:spPr>
              <a:xfrm>
                <a:off x="3953814" y="1992766"/>
                <a:ext cx="30008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 smtClean="0"/>
                  <a:t>*</a:t>
                </a:r>
                <a:endParaRPr lang="zh-CN" altLang="en-US" dirty="0"/>
              </a:p>
            </p:txBody>
          </p:sp>
        </p:grpSp>
        <p:sp>
          <p:nvSpPr>
            <p:cNvPr id="9" name="椭圆 8"/>
            <p:cNvSpPr/>
            <p:nvPr/>
          </p:nvSpPr>
          <p:spPr>
            <a:xfrm rot="16200000">
              <a:off x="4543936" y="4857195"/>
              <a:ext cx="598349" cy="707461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5486400" y="1478809"/>
            <a:ext cx="32657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要一个优异能量分辨率的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CAL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取样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型量能器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颗粒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度 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&gt; ASI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读出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紧凑 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&gt;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薄、大面积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*From ILC CDR Volume IV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方案介绍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方案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总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0.5m × 1m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研制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与电子学集成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75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r>
              <a:rPr lang="zh-CN" altLang="en-US" dirty="0"/>
              <a:t/>
            </a:r>
            <a:br>
              <a:rPr lang="zh-CN" altLang="en-US" dirty="0"/>
            </a:b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1447852"/>
            <a:ext cx="1704941" cy="227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3732872"/>
            <a:ext cx="2857682" cy="219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6164179" y="1722143"/>
            <a:ext cx="2427287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  <a:cs typeface="Times New Roman" panose="02020603050405020304" pitchFamily="18" charset="0"/>
              </a:rPr>
              <a:t>典型的几何结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Cu:	t = 5µm 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Kapton:	T = 5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d = 60µm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                 	D = 8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间距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P = 140µm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1436034"/>
            <a:ext cx="2924140" cy="221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文本框 2"/>
          <p:cNvSpPr txBox="1">
            <a:spLocks noChangeArrowheads="1"/>
          </p:cNvSpPr>
          <p:nvPr/>
        </p:nvSpPr>
        <p:spPr bwMode="auto">
          <a:xfrm>
            <a:off x="6154738" y="1057275"/>
            <a:ext cx="30114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>
                <a:solidFill>
                  <a:srgbClr val="FF0000"/>
                </a:solidFill>
              </a:rPr>
              <a:t>1997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CERN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F.Sauli</a:t>
            </a:r>
            <a:r>
              <a:rPr lang="zh-CN" altLang="en-US" b="1">
                <a:solidFill>
                  <a:srgbClr val="FF0000"/>
                </a:solidFill>
              </a:rPr>
              <a:t>提出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8991" y="3882227"/>
            <a:ext cx="2736165" cy="207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圆柱形孔电场线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5539" y="3415389"/>
            <a:ext cx="2450129" cy="300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63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0x30cm2</a:t>
            </a:r>
            <a:r>
              <a:rPr lang="zh-CN" altLang="en-US" dirty="0"/>
              <a:t> 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制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*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>
            <a:grpSpLocks noChangeAspect="1"/>
          </p:cNvGrpSpPr>
          <p:nvPr/>
        </p:nvGrpSpPr>
        <p:grpSpPr>
          <a:xfrm>
            <a:off x="3781634" y="1283685"/>
            <a:ext cx="5234435" cy="4320000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*Developed at IN2P3 by OMEGA/LA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47264" y="1526518"/>
            <a:ext cx="2879504" cy="1323313"/>
          </a:xfrm>
        </p:spPr>
        <p:txBody>
          <a:bodyPr/>
          <a:lstStyle/>
          <a:p>
            <a:r>
              <a:rPr lang="zh-CN" altLang="en-US" sz="2000" dirty="0" smtClean="0"/>
              <a:t>可</a:t>
            </a:r>
            <a:r>
              <a:rPr lang="zh-CN" altLang="en-US" sz="2000" dirty="0" smtClean="0"/>
              <a:t>扩展读出系统</a:t>
            </a:r>
            <a:r>
              <a:rPr lang="en-US" altLang="zh-CN" sz="2000" dirty="0" smtClean="0"/>
              <a:t>(SRS*)</a:t>
            </a:r>
          </a:p>
          <a:p>
            <a:pPr lvl="1"/>
            <a:r>
              <a:rPr lang="zh-CN" altLang="en-US" sz="1800" dirty="0" smtClean="0"/>
              <a:t>前端板、接口板和数据获取板构成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系统大小可定制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获取系统可复用</a:t>
            </a:r>
            <a:endParaRPr lang="en-US" altLang="zh-CN" sz="1800" dirty="0" smtClean="0"/>
          </a:p>
          <a:p>
            <a:pPr lvl="1"/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读出</a:t>
            </a:r>
            <a:r>
              <a:rPr lang="zh-CN" altLang="en-US" dirty="0" smtClean="0"/>
              <a:t>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1405" y="3497964"/>
            <a:ext cx="7200000" cy="2254872"/>
          </a:xfrm>
          <a:prstGeom prst="rect">
            <a:avLst/>
          </a:prstGeom>
        </p:spPr>
      </p:pic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*Developed from CERN RD51 Group</a:t>
            </a:r>
            <a:endParaRPr lang="zh-CN" altLang="en-US" dirty="0"/>
          </a:p>
        </p:txBody>
      </p:sp>
      <p:grpSp>
        <p:nvGrpSpPr>
          <p:cNvPr id="11" name="组合 10"/>
          <p:cNvGrpSpPr>
            <a:grpSpLocks noChangeAspect="1"/>
          </p:cNvGrpSpPr>
          <p:nvPr/>
        </p:nvGrpSpPr>
        <p:grpSpPr>
          <a:xfrm>
            <a:off x="3193500" y="1325809"/>
            <a:ext cx="5760000" cy="1543059"/>
            <a:chOff x="2725494" y="1230406"/>
            <a:chExt cx="6103412" cy="1634678"/>
          </a:xfrm>
        </p:grpSpPr>
        <p:pic>
          <p:nvPicPr>
            <p:cNvPr id="7" name="图片 8" descr="C:\Users\204-2\AppData\Roaming\Tencent\Users\1113160724\QQ\WinTemp\RichOle\6@%}QZ67@(QXFPM@RZ9NE}8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5494" y="1263775"/>
              <a:ext cx="3216275" cy="1601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图片 9" descr="C:\Users\204-2\AppData\Roaming\Tencent\Users\1113160724\QQ\WinTemp\RichOle\{CM89A9}3W[IL{IVV2YK8CP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5569" y="1230406"/>
              <a:ext cx="2963337" cy="161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422317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414</TotalTime>
  <Words>899</Words>
  <Application>Microsoft Office PowerPoint</Application>
  <PresentationFormat>全屏显示(4:3)</PresentationFormat>
  <Paragraphs>247</Paragraphs>
  <Slides>25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6" baseType="lpstr">
      <vt:lpstr>黑体</vt:lpstr>
      <vt:lpstr>宋体</vt:lpstr>
      <vt:lpstr>微软雅黑</vt:lpstr>
      <vt:lpstr>Arial</vt:lpstr>
      <vt:lpstr>Calibri</vt:lpstr>
      <vt:lpstr>Calibri Light</vt:lpstr>
      <vt:lpstr>Times New Roman</vt:lpstr>
      <vt:lpstr>Wingdings</vt:lpstr>
      <vt:lpstr>Office 主题</vt:lpstr>
      <vt:lpstr>自定义设计方案</vt:lpstr>
      <vt:lpstr>think-cell Slide</vt:lpstr>
      <vt:lpstr>PowerPoint 演示文稿</vt:lpstr>
      <vt:lpstr>目录</vt:lpstr>
      <vt:lpstr>背景</vt:lpstr>
      <vt:lpstr>目录</vt:lpstr>
      <vt:lpstr>GEM探测器 </vt:lpstr>
      <vt:lpstr>30x30cm2 GEM探测器制作</vt:lpstr>
      <vt:lpstr>半数字化读出芯片</vt:lpstr>
      <vt:lpstr>读出方案</vt:lpstr>
      <vt:lpstr>第一阶段方案</vt:lpstr>
      <vt:lpstr>第一阶段方案</vt:lpstr>
      <vt:lpstr>目录</vt:lpstr>
      <vt:lpstr>芯片阈值测试</vt:lpstr>
      <vt:lpstr>半数字化芯片刻度</vt:lpstr>
      <vt:lpstr>噪声&amp;刻度</vt:lpstr>
      <vt:lpstr>通道间不一致性</vt:lpstr>
      <vt:lpstr>探测器联调</vt:lpstr>
      <vt:lpstr>增益均匀性&amp;串扰</vt:lpstr>
      <vt:lpstr>目录</vt:lpstr>
      <vt:lpstr>总结</vt:lpstr>
      <vt:lpstr>50cm*100cm探测器设计</vt:lpstr>
      <vt:lpstr>探测器与电子学集成</vt:lpstr>
      <vt:lpstr>PowerPoint 演示文稿</vt:lpstr>
      <vt:lpstr>Backup</vt:lpstr>
      <vt:lpstr>电子学测试</vt:lpstr>
      <vt:lpstr>电子学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 Yu</cp:lastModifiedBy>
  <cp:revision>36</cp:revision>
  <dcterms:created xsi:type="dcterms:W3CDTF">2017-11-03T08:04:33Z</dcterms:created>
  <dcterms:modified xsi:type="dcterms:W3CDTF">2017-11-09T01:47:46Z</dcterms:modified>
</cp:coreProperties>
</file>